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6"/>
  </p:notesMasterIdLst>
  <p:sldIdLst>
    <p:sldId id="3284" r:id="rId5"/>
    <p:sldId id="2569" r:id="rId6"/>
    <p:sldId id="3275" r:id="rId7"/>
    <p:sldId id="3290" r:id="rId8"/>
    <p:sldId id="2542" r:id="rId9"/>
    <p:sldId id="3291" r:id="rId10"/>
    <p:sldId id="3277" r:id="rId11"/>
    <p:sldId id="3292" r:id="rId12"/>
    <p:sldId id="3293" r:id="rId13"/>
    <p:sldId id="3294" r:id="rId14"/>
    <p:sldId id="2558" r:id="rId15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2284"/>
    <p:restoredTop sz="95788"/>
  </p:normalViewPr>
  <p:slideViewPr>
    <p:cSldViewPr snapToGrid="0">
      <p:cViewPr varScale="1">
        <p:scale>
          <a:sx n="42" d="100"/>
          <a:sy n="42" d="100"/>
        </p:scale>
        <p:origin x="176" y="544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21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066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104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434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501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hilipp-schmelzer-hsg.shinyapps.io/shiny/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21. Januar 2021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446550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valuierung des Prototypen 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Doris </a:t>
            </a:r>
            <a:r>
              <a:rPr lang="de-CH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Vögeli</a:t>
            </a:r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600" b="1">
                <a:latin typeface="Arial" panose="020B0604020202020204" pitchFamily="34" charset="0"/>
                <a:cs typeface="Arial" panose="020B0604020202020204" pitchFamily="34" charset="0"/>
              </a:rPr>
              <a:t>Küchenchef, Paul-Scherrer Institut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USS DES INTERVIEW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ennen Sie weitere Personen, die für ein Interview bereitstehen würd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Klärung letzter Fragen und </a:t>
            </a:r>
            <a:r>
              <a:rPr lang="de-DE" sz="1400" dirty="0" err="1"/>
              <a:t>Verdankung</a:t>
            </a:r>
            <a:r>
              <a:rPr lang="de-DE" sz="1400" dirty="0"/>
              <a:t> des Interviewpartners </a:t>
            </a:r>
          </a:p>
        </p:txBody>
      </p:sp>
    </p:spTree>
    <p:extLst>
      <p:ext uri="{BB962C8B-B14F-4D97-AF65-F5344CB8AC3E}">
        <p14:creationId xmlns:p14="http://schemas.microsoft.com/office/powerpoint/2010/main" val="637858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endParaRPr lang="de-DE" sz="1400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iele des Interview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esten der </a:t>
            </a:r>
            <a:r>
              <a:rPr lang="de-DE" sz="1400" dirty="0" err="1"/>
              <a:t>Shiny-Webapp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swertung der Funktionalität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10-15 </a:t>
            </a:r>
            <a:r>
              <a:rPr lang="de-CH" sz="1500" b="1" dirty="0">
                <a:solidFill>
                  <a:prstClr val="black"/>
                </a:solidFill>
                <a:latin typeface="Calibri"/>
              </a:rPr>
              <a:t>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ZIELE DES INTERVIEW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Ziele für das Interview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Testen der Funktionalität der entwickelten Web-Applikation, um festzustellen, ob sie für die tägliche Anwendung geeignet ist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prüfung der Applikation auf verschiedene Faktoren wie z.B. Nachvollziehbarkeit der Resultate, Vertrauenswürdigkeit der Empfehlungen, Einfachheit der Bedienung etc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inholen von Feedback für die Weiterentwicklung der Applikatio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3657601"/>
            <a:ext cx="4933950" cy="10382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Leitfrage für dieses Interview: </a:t>
            </a:r>
          </a:p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Stimmt die Applikation mit den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für die täglichen Verwendung überein?</a:t>
            </a:r>
          </a:p>
        </p:txBody>
      </p:sp>
    </p:spTree>
    <p:extLst>
      <p:ext uri="{BB962C8B-B14F-4D97-AF65-F5344CB8AC3E}">
        <p14:creationId xmlns:p14="http://schemas.microsoft.com/office/powerpoint/2010/main" val="1448746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ERKLÄRUNG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Link zur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Webapp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: </a:t>
            </a:r>
            <a:r>
              <a:rPr lang="de-DE" sz="1400" dirty="0">
                <a:solidFill>
                  <a:schemeClr val="tx1"/>
                </a:solidFill>
                <a:latin typeface="Calibri"/>
                <a:hlinkClick r:id="rId8"/>
              </a:rPr>
              <a:t>https://philipp-schmelzer-hsg.shinyapps.io/shiny/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Kurze Erklärung der Applikatio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Drei Menüvoraussagen für die nächsten 28 Tage basierend auf historischen Daten und weiteren Faktor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orhersage für einen oder für fünf ausgewählte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erlauf der verschiedenen angebotenen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rklärungen, die im Detail die Funktionsweise der Applikation beschreibt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ingabemaske, mit der das Datum ausgewählt und der Bedarf an Menüs angepasst werden kann.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TESTEN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Der Interviewte soll folgende Operationen auf der App ausführen: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vorgeschlagenen drei Menüs auf Tages- und Wochenbasi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uswahl eines bestimmten Tages / 5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Bedarf eines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r Icon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s Bedarfsverlauf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Ändern der betrachteten Menüs im Bedarfsverlauf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Erklärungen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3974412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2" name="Tabelle 2">
            <a:extLst>
              <a:ext uri="{FF2B5EF4-FFF2-40B4-BE49-F238E27FC236}">
                <a16:creationId xmlns:a16="http://schemas.microsoft.com/office/drawing/2014/main" id="{BCECCD8E-9B10-E141-BEEB-20EDDD97EB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6844939"/>
              </p:ext>
            </p:extLst>
          </p:nvPr>
        </p:nvGraphicFramePr>
        <p:xfrm>
          <a:off x="477715" y="1273810"/>
          <a:ext cx="8191500" cy="33771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4039">
                  <a:extLst>
                    <a:ext uri="{9D8B030D-6E8A-4147-A177-3AD203B41FA5}">
                      <a16:colId xmlns:a16="http://schemas.microsoft.com/office/drawing/2014/main" val="61049810"/>
                    </a:ext>
                  </a:extLst>
                </a:gridCol>
                <a:gridCol w="5187461">
                  <a:extLst>
                    <a:ext uri="{9D8B030D-6E8A-4147-A177-3AD203B41FA5}">
                      <a16:colId xmlns:a16="http://schemas.microsoft.com/office/drawing/2014/main" val="385410762"/>
                    </a:ext>
                  </a:extLst>
                </a:gridCol>
              </a:tblGrid>
              <a:tr h="307844">
                <a:tc>
                  <a:txBody>
                    <a:bodyPr/>
                    <a:lstStyle/>
                    <a:p>
                      <a:r>
                        <a:rPr lang="de-DE" dirty="0"/>
                        <a:t>Zu bewertender Fak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wertung 1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9401115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Übersichtlichkei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hr übersichtlich,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657022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Strukt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hr einfach gehalten, 4/5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8695747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Bedien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hr einfache Bedienung auch für computerfremde Personen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1205891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Erklä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76185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Glaubwürdig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Ja ist glaubwürdi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74428"/>
                  </a:ext>
                </a:extLst>
              </a:tr>
              <a:tr h="427878">
                <a:tc>
                  <a:txBody>
                    <a:bodyPr/>
                    <a:lstStyle/>
                    <a:p>
                      <a:r>
                        <a:rPr lang="de-DE" sz="1200" dirty="0"/>
                        <a:t>Nachvollziehbar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Ja die Faktoren (Icons) und der Vergleichswert machen die Vorhersage vergleichbar und nachvollziehba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7008907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Passt so wie es i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6781407"/>
                  </a:ext>
                </a:extLst>
              </a:tr>
              <a:tr h="427878">
                <a:tc>
                  <a:txBody>
                    <a:bodyPr/>
                    <a:lstStyle/>
                    <a:p>
                      <a:r>
                        <a:rPr lang="de-DE" sz="1200" dirty="0"/>
                        <a:t>Nützlich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Hängt von mehreren Faktoren ab, würde sich schon alleine von den Warenkosten her lohnen, sehr gute Stütze für neue Mitarbeit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3855123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Verwendbar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Ja auf jeden Fa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5807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3" name="Tabelle 3">
            <a:extLst>
              <a:ext uri="{FF2B5EF4-FFF2-40B4-BE49-F238E27FC236}">
                <a16:creationId xmlns:a16="http://schemas.microsoft.com/office/drawing/2014/main" id="{6A11B461-7F3D-5D49-B07E-1BBBEB10B0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3451785"/>
              </p:ext>
            </p:extLst>
          </p:nvPr>
        </p:nvGraphicFramePr>
        <p:xfrm>
          <a:off x="438600" y="1241620"/>
          <a:ext cx="826680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61465">
                  <a:extLst>
                    <a:ext uri="{9D8B030D-6E8A-4147-A177-3AD203B41FA5}">
                      <a16:colId xmlns:a16="http://schemas.microsoft.com/office/drawing/2014/main" val="2926912899"/>
                    </a:ext>
                  </a:extLst>
                </a:gridCol>
                <a:gridCol w="826477">
                  <a:extLst>
                    <a:ext uri="{9D8B030D-6E8A-4147-A177-3AD203B41FA5}">
                      <a16:colId xmlns:a16="http://schemas.microsoft.com/office/drawing/2014/main" val="4034516113"/>
                    </a:ext>
                  </a:extLst>
                </a:gridCol>
                <a:gridCol w="678858">
                  <a:extLst>
                    <a:ext uri="{9D8B030D-6E8A-4147-A177-3AD203B41FA5}">
                      <a16:colId xmlns:a16="http://schemas.microsoft.com/office/drawing/2014/main" val="933594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J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e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13134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nwiefern vertrauen Sie den Vorhersagen der Applikatio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5926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nwiefern können Sie die Vorhersagen nachvollzieh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8576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realistis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9407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glaubwürdig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7114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ind die Erklärungen in der App für Sie verständli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8124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st die Bedienung der App für Sie intuitiv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1907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Könnten Sie sich vorstellen eine solche Applikation bei der Menüplanung zu verwend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59515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2003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FEEDBACK FÜR DIE WEITERENTWICKL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Potenzial für die Weiterentwicklun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eep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it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simple – stichwortarti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Rundgang wäre sehr gut für das erste Mal Öffn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für die Weiterentwicklung erhalten</a:t>
            </a:r>
          </a:p>
        </p:txBody>
      </p:sp>
    </p:spTree>
    <p:extLst>
      <p:ext uri="{BB962C8B-B14F-4D97-AF65-F5344CB8AC3E}">
        <p14:creationId xmlns:p14="http://schemas.microsoft.com/office/powerpoint/2010/main" val="437764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619</Words>
  <Application>Microsoft Macintosh PowerPoint</Application>
  <PresentationFormat>Bildschirmpräsentation (16:9)</PresentationFormat>
  <Paragraphs>128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5</cp:revision>
  <cp:lastPrinted>2020-03-29T12:41:23Z</cp:lastPrinted>
  <dcterms:created xsi:type="dcterms:W3CDTF">2019-10-08T08:06:46Z</dcterms:created>
  <dcterms:modified xsi:type="dcterms:W3CDTF">2021-01-21T16:2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